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35"/>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Analysis By Brands" id="{35CB97CE-97DF-47EB-890D-780271736AD7}">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Lst>
        </p14:section>
        <p14:section name="Price Positioning Analysis By Manufacturer" id="{C38BECB3-0D74-459F-A4CD-CB251DA304F2}">
          <p14:sldIdLst>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notesMaster" Target="notesMasters/notesMaster1.xml"/><Relationship Id="rId36" Type="http://schemas.openxmlformats.org/officeDocument/2006/relationships/presProps" Target="presProps.xml"/><Relationship Id="rId37" Type="http://schemas.openxmlformats.org/officeDocument/2006/relationships/viewProps" Target="viewProps.xml"/><Relationship Id="rId38" Type="http://schemas.openxmlformats.org/officeDocument/2006/relationships/theme" Target="theme/theme1.xml"/><Relationship Id="rId39" Type="http://schemas.openxmlformats.org/officeDocument/2006/relationships/tableStyles" Target="tableStyles.xml"/><Relationship Id="rId40"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68991DB-EA3D-4D7F-9A6F-C50494789D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C3F41BD-CE92-44EF-99F7-A0F09494CD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1AB4989-57CD-468B-9649-63C7DC2667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1F81C1D-7EA9-42B4-BA37-E5611156F6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9929772-4CC9-493B-90AC-9BC75DB534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E2BECE2-4E71-48BB-A295-B57C8B115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E50FB26-E9D6-43AD-8F88-7D081CFD78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B241865-8438-4115-8BB5-F00774937D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6.8129</c:v>
                </c:pt>
                <c:pt idx="1">
                  <c:v>12.4175</c:v>
                </c:pt>
                <c:pt idx="2">
                  <c:v>6.0915</c:v>
                </c:pt>
                <c:pt idx="3">
                  <c:v>10.7544</c:v>
                </c:pt>
                <c:pt idx="4">
                  <c:v>4.9539</c:v>
                </c:pt>
                <c:pt idx="5">
                  <c:v>4.1436</c:v>
                </c:pt>
                <c:pt idx="6">
                  <c:v>9.5934</c:v>
                </c:pt>
                <c:pt idx="7">
                  <c:v>13.0515</c:v>
                </c:pt>
              </c:numCache>
            </c:numRef>
          </c:xVal>
          <c:yVal>
            <c:numRef>
              <c:f>Sheet1!$B$2:$B$9</c:f>
              <c:numCache>
                <c:formatCode>General</c:formatCode>
                <c:ptCount val="8"/>
                <c:pt idx="0">
                  <c:v>1.321</c:v>
                </c:pt>
                <c:pt idx="1">
                  <c:v>1.44</c:v>
                </c:pt>
                <c:pt idx="2">
                  <c:v>0.553</c:v>
                </c:pt>
                <c:pt idx="3">
                  <c:v>0.771</c:v>
                </c:pt>
                <c:pt idx="4">
                  <c:v>0.462</c:v>
                </c:pt>
                <c:pt idx="5">
                  <c:v>0.369</c:v>
                </c:pt>
                <c:pt idx="6">
                  <c:v>1.512</c:v>
                </c:pt>
                <c:pt idx="7">
                  <c:v>2.013</c:v>
                </c:pt>
              </c:numCache>
            </c:numRef>
          </c:yVal>
          <c:bubbleSize>
            <c:numRef>
              <c:f>Sheet1!$C$2:$C$9</c:f>
              <c:numCache>
                <c:formatCode>General</c:formatCode>
                <c:ptCount val="8"/>
                <c:pt idx="0">
                  <c:v>972086869</c:v>
                </c:pt>
                <c:pt idx="1">
                  <c:v>184811438</c:v>
                </c:pt>
                <c:pt idx="2">
                  <c:v>126968743</c:v>
                </c:pt>
                <c:pt idx="3">
                  <c:v>114853020</c:v>
                </c:pt>
                <c:pt idx="4">
                  <c:v>36884480</c:v>
                </c:pt>
                <c:pt idx="5">
                  <c:v>35079369</c:v>
                </c:pt>
                <c:pt idx="6">
                  <c:v>31033081</c:v>
                </c:pt>
                <c:pt idx="7">
                  <c:v>1791355</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0"/>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1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A670ACA-DF85-4659-8F0D-B886A74A27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F4CA0A5-B51C-41F9-BE64-1EB6E26831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0107E73-0A83-4E46-9B04-5D7FFC0540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057F225-24D8-4B6E-99D2-F897BEA2FC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CF8F1C0-4A15-48AD-9BC9-EF2DAB2C4E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21F6427-D3FD-41FA-9A16-A5E3A7B739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98472EE-F53C-430F-BF7F-09DA9F6E28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0687E78-5090-4081-B5EE-B1D07275DF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6.3145</c:v>
                </c:pt>
                <c:pt idx="1">
                  <c:v>12.4898</c:v>
                </c:pt>
                <c:pt idx="2">
                  <c:v>10.9337</c:v>
                </c:pt>
                <c:pt idx="3">
                  <c:v>9.1038</c:v>
                </c:pt>
                <c:pt idx="4">
                  <c:v>18.0314</c:v>
                </c:pt>
                <c:pt idx="5">
                  <c:v>8.3903</c:v>
                </c:pt>
                <c:pt idx="6">
                  <c:v>8.4394</c:v>
                </c:pt>
                <c:pt idx="7">
                  <c:v>13.6003</c:v>
                </c:pt>
              </c:numCache>
            </c:numRef>
          </c:xVal>
          <c:yVal>
            <c:numRef>
              <c:f>Sheet1!$B$2:$B$9</c:f>
              <c:numCache>
                <c:formatCode>General</c:formatCode>
                <c:ptCount val="8"/>
                <c:pt idx="0">
                  <c:v>1.157</c:v>
                </c:pt>
                <c:pt idx="1">
                  <c:v>0.868</c:v>
                </c:pt>
                <c:pt idx="2">
                  <c:v>0.632</c:v>
                </c:pt>
                <c:pt idx="3">
                  <c:v>0.914</c:v>
                </c:pt>
                <c:pt idx="4">
                  <c:v>0.739</c:v>
                </c:pt>
                <c:pt idx="5">
                  <c:v>0.652</c:v>
                </c:pt>
                <c:pt idx="6">
                  <c:v>0.848</c:v>
                </c:pt>
                <c:pt idx="7">
                  <c:v>1.104</c:v>
                </c:pt>
              </c:numCache>
            </c:numRef>
          </c:yVal>
          <c:bubbleSize>
            <c:numRef>
              <c:f>Sheet1!$C$2:$C$9</c:f>
              <c:numCache>
                <c:formatCode>General</c:formatCode>
                <c:ptCount val="8"/>
                <c:pt idx="0">
                  <c:v>217880579</c:v>
                </c:pt>
                <c:pt idx="1">
                  <c:v>65466766</c:v>
                </c:pt>
                <c:pt idx="2">
                  <c:v>20499734</c:v>
                </c:pt>
                <c:pt idx="3">
                  <c:v>13711128</c:v>
                </c:pt>
                <c:pt idx="4">
                  <c:v>6491139</c:v>
                </c:pt>
                <c:pt idx="5">
                  <c:v>3855524</c:v>
                </c:pt>
                <c:pt idx="6">
                  <c:v>2400107</c:v>
                </c:pt>
                <c:pt idx="7">
                  <c:v>70098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7"/>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5A33D4E-A05A-45EB-8EE5-67E0153720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F7AF015-4987-4AEB-9D77-4FA05A5C19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9E8A702-A4E0-4A5E-A264-5FC018E6B4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7D07B8-5E9A-49C5-8CEF-78BF8A7476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9E49234-E151-4B39-B698-6B6339EB0C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BDC3D16-9431-4A1C-BB94-657941068D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F3EFF41-509A-440F-9F50-200F8D8AF2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BA1CC32-972E-46B3-977D-E5E55249D5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5571</c:v>
                </c:pt>
                <c:pt idx="1">
                  <c:v>12.684</c:v>
                </c:pt>
                <c:pt idx="2">
                  <c:v>17.2701</c:v>
                </c:pt>
                <c:pt idx="3">
                  <c:v>10.02</c:v>
                </c:pt>
                <c:pt idx="4">
                  <c:v>10.8356</c:v>
                </c:pt>
                <c:pt idx="5">
                  <c:v>8.0243</c:v>
                </c:pt>
                <c:pt idx="6">
                  <c:v>12.7214</c:v>
                </c:pt>
              </c:numCache>
            </c:numRef>
          </c:xVal>
          <c:yVal>
            <c:numRef>
              <c:f>Sheet1!$B$2:$B$8</c:f>
              <c:numCache>
                <c:formatCode>General</c:formatCode>
                <c:ptCount val="7"/>
                <c:pt idx="0">
                  <c:v>1.2</c:v>
                </c:pt>
                <c:pt idx="1">
                  <c:v>0.811</c:v>
                </c:pt>
                <c:pt idx="2">
                  <c:v>0.799</c:v>
                </c:pt>
                <c:pt idx="3">
                  <c:v>0.776</c:v>
                </c:pt>
                <c:pt idx="4">
                  <c:v>0.723</c:v>
                </c:pt>
                <c:pt idx="5">
                  <c:v>0.471</c:v>
                </c:pt>
                <c:pt idx="6">
                  <c:v>1.117</c:v>
                </c:pt>
              </c:numCache>
            </c:numRef>
          </c:yVal>
          <c:bubbleSize>
            <c:numRef>
              <c:f>Sheet1!$C$2:$C$8</c:f>
              <c:numCache>
                <c:formatCode>General</c:formatCode>
                <c:ptCount val="7"/>
                <c:pt idx="0">
                  <c:v>503759226</c:v>
                </c:pt>
                <c:pt idx="1">
                  <c:v>116928743</c:v>
                </c:pt>
                <c:pt idx="2">
                  <c:v>28880007</c:v>
                </c:pt>
                <c:pt idx="3">
                  <c:v>17321953</c:v>
                </c:pt>
                <c:pt idx="4">
                  <c:v>7619052</c:v>
                </c:pt>
                <c:pt idx="5">
                  <c:v>7209662</c:v>
                </c:pt>
                <c:pt idx="6">
                  <c:v>109036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893568D-C5F3-47B3-8725-AB94660F9F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FF16725-13AF-42C0-B708-B6BBD2E56F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7E62A4E-04C3-49F5-A07E-CBE286EA8E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339F9B9-6599-4BC5-A175-12D01517FD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2C113F-54AA-480A-9F50-F1818431D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7EF8F6D-01C7-4F89-9F4A-E1AC1E2ECC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6EB96B0-AAB4-49F2-94B6-02D3072B8D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79BE69A-A433-45CB-B38D-DB17FF5CC0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6.7055</c:v>
                </c:pt>
                <c:pt idx="1">
                  <c:v>23.1168</c:v>
                </c:pt>
                <c:pt idx="2">
                  <c:v>9.6452</c:v>
                </c:pt>
              </c:numCache>
            </c:numRef>
          </c:xVal>
          <c:yVal>
            <c:numRef>
              <c:f>Sheet1!$B$2:$B$4</c:f>
              <c:numCache>
                <c:formatCode>General</c:formatCode>
                <c:ptCount val="3"/>
                <c:pt idx="0">
                  <c:v>1.069</c:v>
                </c:pt>
                <c:pt idx="1">
                  <c:v>0.668</c:v>
                </c:pt>
                <c:pt idx="2">
                  <c:v>0.572</c:v>
                </c:pt>
              </c:numCache>
            </c:numRef>
          </c:yVal>
          <c:bubbleSize>
            <c:numRef>
              <c:f>Sheet1!$C$2:$C$4</c:f>
              <c:numCache>
                <c:formatCode>General</c:formatCode>
                <c:ptCount val="3"/>
                <c:pt idx="0">
                  <c:v>16065737</c:v>
                </c:pt>
                <c:pt idx="1">
                  <c:v>2025791</c:v>
                </c:pt>
                <c:pt idx="2">
                  <c:v>29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6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6476EB-02F0-4EB5-AFB8-A4ABB35991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43CFAC3-1F43-4AED-AA2B-61E992910B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258C1F6-B679-4ED8-A595-93827739A4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28B6501-5BBD-45F5-ABB8-855046D5F6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306C1AC-6AB4-4FC1-A790-0ADF3D496C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8687AD1-7ABA-463F-8046-642B4785F6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7E4460C-655F-410F-B31F-8DDC9D73F5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AEDBFE8-A0E3-4345-A4EB-3F1ECAD66C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8.664</c:v>
                </c:pt>
              </c:numCache>
            </c:numRef>
          </c:xVal>
          <c:yVal>
            <c:numRef>
              <c:f>Sheet1!$B$2:$B$2</c:f>
              <c:numCache>
                <c:formatCode>General</c:formatCode>
                <c:ptCount val="1"/>
                <c:pt idx="0">
                  <c:v>1</c:v>
                </c:pt>
              </c:numCache>
            </c:numRef>
          </c:yVal>
          <c:bubbleSize>
            <c:numRef>
              <c:f>Sheet1!$C$2:$C$2</c:f>
              <c:numCache>
                <c:formatCode>General</c:formatCode>
                <c:ptCount val="1"/>
                <c:pt idx="0">
                  <c:v>7137876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0"/>
          <c:min val="3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BA2D2DA-BE0C-454D-8F65-5438F4944F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83542DE-1798-4817-8B20-E08DB36BE4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BA2C583-353E-488B-82E5-8D4A3BEA84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0BF1A14-10CF-4BCC-9ADA-5866D67112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39B698B-B891-4D37-B498-4CD1722724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44A79DD-17F3-42C8-8BAF-12B3B8B41C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4FCE110-3DCB-4E81-944C-04B29AF9CC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B8DFEC3-29FE-41B4-89BA-3A4A5A9602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6.674</c:v>
                </c:pt>
                <c:pt idx="1">
                  <c:v>12.5903</c:v>
                </c:pt>
                <c:pt idx="2">
                  <c:v>9.5842</c:v>
                </c:pt>
                <c:pt idx="3">
                  <c:v>8.9646</c:v>
                </c:pt>
                <c:pt idx="4">
                  <c:v>17.9598</c:v>
                </c:pt>
                <c:pt idx="5">
                  <c:v>8.4401</c:v>
                </c:pt>
                <c:pt idx="6">
                  <c:v>14.8057</c:v>
                </c:pt>
              </c:numCache>
            </c:numRef>
          </c:xVal>
          <c:yVal>
            <c:numRef>
              <c:f>Sheet1!$B$2:$B$8</c:f>
              <c:numCache>
                <c:formatCode>General</c:formatCode>
                <c:ptCount val="7"/>
                <c:pt idx="0">
                  <c:v>1.105</c:v>
                </c:pt>
                <c:pt idx="1">
                  <c:v>0.909</c:v>
                </c:pt>
                <c:pt idx="2">
                  <c:v>0.666</c:v>
                </c:pt>
                <c:pt idx="3">
                  <c:v>0.94</c:v>
                </c:pt>
                <c:pt idx="4">
                  <c:v>0.753</c:v>
                </c:pt>
                <c:pt idx="5">
                  <c:v>0.885</c:v>
                </c:pt>
                <c:pt idx="6">
                  <c:v>1.551</c:v>
                </c:pt>
              </c:numCache>
            </c:numRef>
          </c:yVal>
          <c:bubbleSize>
            <c:numRef>
              <c:f>Sheet1!$C$2:$C$8</c:f>
              <c:numCache>
                <c:formatCode>General</c:formatCode>
                <c:ptCount val="7"/>
                <c:pt idx="0">
                  <c:v>71368823</c:v>
                </c:pt>
                <c:pt idx="1">
                  <c:v>22258475</c:v>
                </c:pt>
                <c:pt idx="2">
                  <c:v>5660351</c:v>
                </c:pt>
                <c:pt idx="3">
                  <c:v>5016932</c:v>
                </c:pt>
                <c:pt idx="4">
                  <c:v>3288530</c:v>
                </c:pt>
                <c:pt idx="5">
                  <c:v>2374435</c:v>
                </c:pt>
                <c:pt idx="6">
                  <c:v>89693</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5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43050E-53B4-458E-B796-ADD1A880A9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943F18E-3392-4F28-9C30-5F98AC51A0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2D00499-9B57-4A06-B484-ADAB0630FA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4F7AB00-BEF1-462E-B313-96D9556807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3EC4073-AADD-41F0-9C99-5FAB061A74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AFDDF62-14DD-409D-9D23-CD9D68A066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7F10D14-4D5A-458F-913D-652CB28A8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7C0CD95-CCF0-4CE6-9318-7201A74F29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0.7758</c:v>
                </c:pt>
                <c:pt idx="1">
                  <c:v>12.6654</c:v>
                </c:pt>
                <c:pt idx="2">
                  <c:v>17.3675</c:v>
                </c:pt>
                <c:pt idx="3">
                  <c:v>11.0657</c:v>
                </c:pt>
                <c:pt idx="4">
                  <c:v>10.8358</c:v>
                </c:pt>
                <c:pt idx="5">
                  <c:v>2.9802</c:v>
                </c:pt>
                <c:pt idx="6">
                  <c:v>13.5345</c:v>
                </c:pt>
              </c:numCache>
            </c:numRef>
          </c:xVal>
          <c:yVal>
            <c:numRef>
              <c:f>Sheet1!$B$2:$B$8</c:f>
              <c:numCache>
                <c:formatCode>General</c:formatCode>
                <c:ptCount val="7"/>
                <c:pt idx="0">
                  <c:v>1.376</c:v>
                </c:pt>
                <c:pt idx="1">
                  <c:v>0.867</c:v>
                </c:pt>
                <c:pt idx="2">
                  <c:v>0.879</c:v>
                </c:pt>
                <c:pt idx="3">
                  <c:v>0.83</c:v>
                </c:pt>
                <c:pt idx="4">
                  <c:v>0.782</c:v>
                </c:pt>
                <c:pt idx="5">
                  <c:v>0.113</c:v>
                </c:pt>
                <c:pt idx="6">
                  <c:v>1.282</c:v>
                </c:pt>
              </c:numCache>
            </c:numRef>
          </c:yVal>
          <c:bubbleSize>
            <c:numRef>
              <c:f>Sheet1!$C$2:$C$8</c:f>
              <c:numCache>
                <c:formatCode>General</c:formatCode>
                <c:ptCount val="7"/>
                <c:pt idx="0">
                  <c:v>118612654</c:v>
                </c:pt>
                <c:pt idx="1">
                  <c:v>46786767</c:v>
                </c:pt>
                <c:pt idx="2">
                  <c:v>8886004</c:v>
                </c:pt>
                <c:pt idx="3">
                  <c:v>7744389</c:v>
                </c:pt>
                <c:pt idx="4">
                  <c:v>7538613</c:v>
                </c:pt>
                <c:pt idx="5">
                  <c:v>2597426</c:v>
                </c:pt>
                <c:pt idx="6">
                  <c:v>4320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0"/>
          <c:min val="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75999999999999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35929B-28B3-4C62-A3CE-2CCA858FD2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6FA20AA-C636-4884-B386-4DA0B82970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5182AE5-50DC-4D4E-905F-31FEC79B58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7ED6DA4-2E92-4E3A-8D51-BBD0B17439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7B3FB96-3CCD-4011-AC64-7BA4B94844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AD2A7CB-C7E3-4903-9738-6FBE893693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45017A4-6AAC-45BA-A586-807B903C38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086A79A-1FD3-43E1-98E4-7FAE21ACE1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8287</c:v>
                </c:pt>
                <c:pt idx="1">
                  <c:v>12.4175</c:v>
                </c:pt>
                <c:pt idx="2">
                  <c:v>6.1783</c:v>
                </c:pt>
                <c:pt idx="3">
                  <c:v>10.7407</c:v>
                </c:pt>
                <c:pt idx="4">
                  <c:v>4.5226</c:v>
                </c:pt>
                <c:pt idx="5">
                  <c:v>9.603</c:v>
                </c:pt>
              </c:numCache>
            </c:numRef>
          </c:xVal>
          <c:yVal>
            <c:numRef>
              <c:f>Sheet1!$B$2:$B$7</c:f>
              <c:numCache>
                <c:formatCode>General</c:formatCode>
                <c:ptCount val="6"/>
                <c:pt idx="0">
                  <c:v>1.32</c:v>
                </c:pt>
                <c:pt idx="1">
                  <c:v>1.44</c:v>
                </c:pt>
                <c:pt idx="2">
                  <c:v>0.551</c:v>
                </c:pt>
                <c:pt idx="3">
                  <c:v>0.78</c:v>
                </c:pt>
                <c:pt idx="4">
                  <c:v>0.412</c:v>
                </c:pt>
                <c:pt idx="5">
                  <c:v>1.512</c:v>
                </c:pt>
              </c:numCache>
            </c:numRef>
          </c:yVal>
          <c:bubbleSize>
            <c:numRef>
              <c:f>Sheet1!$C$2:$C$7</c:f>
              <c:numCache>
                <c:formatCode>General</c:formatCode>
                <c:ptCount val="6"/>
                <c:pt idx="0">
                  <c:v>975089151</c:v>
                </c:pt>
                <c:pt idx="1">
                  <c:v>184811438</c:v>
                </c:pt>
                <c:pt idx="2">
                  <c:v>138157817</c:v>
                </c:pt>
                <c:pt idx="3">
                  <c:v>117890971</c:v>
                </c:pt>
                <c:pt idx="4">
                  <c:v>72039189</c:v>
                </c:pt>
                <c:pt idx="5">
                  <c:v>3107750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0"/>
          <c:min val="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398BB87-21E9-4821-B208-91B4A4C9EB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FBDDDFE-DF98-4C58-B34A-BF8DBA5076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4391121-7748-4C9C-ABFB-30B8C92E3D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C5A1C18-3D17-40AA-913D-D07881A17A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E44DC35-4452-446D-9066-9151A96194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93B5045-BB6D-42EB-951B-96934CB5F4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C8B2512-6A1D-481B-9844-3DF34C40D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FF643EF-828D-4C8F-B10E-C88863C10C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6.5308</c:v>
                </c:pt>
                <c:pt idx="1">
                  <c:v>18.1428</c:v>
                </c:pt>
                <c:pt idx="2">
                  <c:v>23.1168</c:v>
                </c:pt>
              </c:numCache>
            </c:numRef>
          </c:xVal>
          <c:yVal>
            <c:numRef>
              <c:f>Sheet1!$B$2:$B$4</c:f>
              <c:numCache>
                <c:formatCode>General</c:formatCode>
                <c:ptCount val="3"/>
                <c:pt idx="0">
                  <c:v>1.075</c:v>
                </c:pt>
                <c:pt idx="1">
                  <c:v>0.6</c:v>
                </c:pt>
                <c:pt idx="2">
                  <c:v>1.391</c:v>
                </c:pt>
              </c:numCache>
            </c:numRef>
          </c:yVal>
          <c:bubbleSize>
            <c:numRef>
              <c:f>Sheet1!$C$2:$C$4</c:f>
              <c:numCache>
                <c:formatCode>General</c:formatCode>
                <c:ptCount val="3"/>
                <c:pt idx="0">
                  <c:v>106285190</c:v>
                </c:pt>
                <c:pt idx="1">
                  <c:v>11788256</c:v>
                </c:pt>
                <c:pt idx="2">
                  <c:v>202579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0"/>
          <c:min val="1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9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2F678DA-5300-4401-BCA3-1A34D4DFD6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637D84C-3B03-4306-9B1B-219A66C69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99CC716-C2FC-4592-81F1-306F4C8405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62D6AC1-0F5C-486A-8910-42273D2D37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6933D9E-38A4-46A5-B31D-B691FB7FD0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5ADA822-A6E6-451A-B348-EF59405E1F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DBFCB7E-C362-4C60-B486-B5D1574F04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571D895-3982-4E7B-B493-C5CDF6C137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4.9882</c:v>
                </c:pt>
                <c:pt idx="1">
                  <c:v>12.5575</c:v>
                </c:pt>
                <c:pt idx="2">
                  <c:v>6.4697</c:v>
                </c:pt>
                <c:pt idx="3">
                  <c:v>4.1442</c:v>
                </c:pt>
                <c:pt idx="4">
                  <c:v>9.9691</c:v>
                </c:pt>
                <c:pt idx="5">
                  <c:v>10.1321</c:v>
                </c:pt>
                <c:pt idx="6">
                  <c:v>5.5809</c:v>
                </c:pt>
              </c:numCache>
            </c:numRef>
          </c:xVal>
          <c:yVal>
            <c:numRef>
              <c:f>Sheet1!$B$2:$B$8</c:f>
              <c:numCache>
                <c:formatCode>General</c:formatCode>
                <c:ptCount val="7"/>
                <c:pt idx="0">
                  <c:v>1.401</c:v>
                </c:pt>
                <c:pt idx="1">
                  <c:v>1.578</c:v>
                </c:pt>
                <c:pt idx="2">
                  <c:v>0.579</c:v>
                </c:pt>
                <c:pt idx="3">
                  <c:v>0.412</c:v>
                </c:pt>
                <c:pt idx="4">
                  <c:v>0.799</c:v>
                </c:pt>
                <c:pt idx="5">
                  <c:v>1.618</c:v>
                </c:pt>
                <c:pt idx="6">
                  <c:v>0.361</c:v>
                </c:pt>
              </c:numCache>
            </c:numRef>
          </c:yVal>
          <c:bubbleSize>
            <c:numRef>
              <c:f>Sheet1!$C$2:$C$8</c:f>
              <c:numCache>
                <c:formatCode>General</c:formatCode>
                <c:ptCount val="7"/>
                <c:pt idx="0">
                  <c:v>277475646</c:v>
                </c:pt>
                <c:pt idx="1">
                  <c:v>69574516</c:v>
                </c:pt>
                <c:pt idx="2">
                  <c:v>57054362</c:v>
                </c:pt>
                <c:pt idx="3">
                  <c:v>34710867</c:v>
                </c:pt>
                <c:pt idx="4">
                  <c:v>33783546</c:v>
                </c:pt>
                <c:pt idx="5">
                  <c:v>12761444</c:v>
                </c:pt>
                <c:pt idx="6">
                  <c:v>588595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0"/>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1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C231BE3-9A6A-4F2F-B4AE-9AF5EA8BD1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696E4AA-B844-4544-B2A6-91A0674248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D9F7BCF-6662-4A06-B880-1A8BB9362E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20877A0-175B-40EA-ACA4-692321A3D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2D9F285-E4B8-43AF-BA1E-AB019D9D1C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641DF21-6123-4614-A511-981A5E2A2C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CC89031-0976-40DA-9816-005CAC9B66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2B808A3-0C45-420E-BC2A-2D2D66CCE9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1.1891</c:v>
                </c:pt>
                <c:pt idx="1">
                  <c:v>12.6136</c:v>
                </c:pt>
                <c:pt idx="2">
                  <c:v>13.6328</c:v>
                </c:pt>
                <c:pt idx="3">
                  <c:v>8.1268</c:v>
                </c:pt>
                <c:pt idx="4">
                  <c:v>9.603</c:v>
                </c:pt>
                <c:pt idx="5">
                  <c:v>8.5785</c:v>
                </c:pt>
                <c:pt idx="6">
                  <c:v>6.1635</c:v>
                </c:pt>
              </c:numCache>
            </c:numRef>
          </c:xVal>
          <c:yVal>
            <c:numRef>
              <c:f>Sheet1!$B$2:$B$8</c:f>
              <c:numCache>
                <c:formatCode>General</c:formatCode>
                <c:ptCount val="7"/>
                <c:pt idx="0">
                  <c:v>1.257</c:v>
                </c:pt>
                <c:pt idx="1">
                  <c:v>0.902</c:v>
                </c:pt>
                <c:pt idx="2">
                  <c:v>0.837</c:v>
                </c:pt>
                <c:pt idx="3">
                  <c:v>0.452</c:v>
                </c:pt>
                <c:pt idx="4">
                  <c:v>0.931</c:v>
                </c:pt>
                <c:pt idx="5">
                  <c:v>0.598</c:v>
                </c:pt>
                <c:pt idx="6">
                  <c:v>0.267</c:v>
                </c:pt>
              </c:numCache>
            </c:numRef>
          </c:yVal>
          <c:bubbleSize>
            <c:numRef>
              <c:f>Sheet1!$C$2:$C$8</c:f>
              <c:numCache>
                <c:formatCode>General</c:formatCode>
                <c:ptCount val="7"/>
                <c:pt idx="0">
                  <c:v>726078992</c:v>
                </c:pt>
                <c:pt idx="1">
                  <c:v>182395509</c:v>
                </c:pt>
                <c:pt idx="2">
                  <c:v>52431265</c:v>
                </c:pt>
                <c:pt idx="3">
                  <c:v>51685391</c:v>
                </c:pt>
                <c:pt idx="4">
                  <c:v>31077509</c:v>
                </c:pt>
                <c:pt idx="5">
                  <c:v>23657875</c:v>
                </c:pt>
                <c:pt idx="6">
                  <c:v>10890684</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0"/>
          <c:min val="5.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56999999999999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1C5A8BE-8E12-4350-AD12-A48FB08D96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86B4D3A-4BC0-4BF3-8F0B-5288A93169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9AF33DE-4A62-41AB-A1B4-BFC50BF7A9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C79C948-25C8-4F19-AED6-94F364F7A8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B92375F-D1CC-47F1-A9F3-9636C24423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DFE9546-56A3-408A-8296-B44D9A0431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11D0566-D449-4DA9-8175-400183577E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6009C66-B741-40CF-A1A6-91CDE1BE33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6.5308</c:v>
                </c:pt>
                <c:pt idx="1">
                  <c:v>18.1432</c:v>
                </c:pt>
                <c:pt idx="2">
                  <c:v>23.1168</c:v>
                </c:pt>
                <c:pt idx="3">
                  <c:v>9.6452</c:v>
                </c:pt>
              </c:numCache>
            </c:numRef>
          </c:xVal>
          <c:yVal>
            <c:numRef>
              <c:f>Sheet1!$B$2:$B$5</c:f>
              <c:numCache>
                <c:formatCode>General</c:formatCode>
                <c:ptCount val="4"/>
                <c:pt idx="0">
                  <c:v>1.075</c:v>
                </c:pt>
                <c:pt idx="1">
                  <c:v>0.6</c:v>
                </c:pt>
                <c:pt idx="2">
                  <c:v>1.391</c:v>
                </c:pt>
                <c:pt idx="3">
                  <c:v>1.192</c:v>
                </c:pt>
              </c:numCache>
            </c:numRef>
          </c:yVal>
          <c:bubbleSize>
            <c:numRef>
              <c:f>Sheet1!$C$2:$C$5</c:f>
              <c:numCache>
                <c:formatCode>General</c:formatCode>
                <c:ptCount val="4"/>
                <c:pt idx="0">
                  <c:v>106285190</c:v>
                </c:pt>
                <c:pt idx="1">
                  <c:v>11787957</c:v>
                </c:pt>
                <c:pt idx="2">
                  <c:v>2025791</c:v>
                </c:pt>
                <c:pt idx="3">
                  <c:v>29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9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D34BAF0-28B4-4965-BE6D-1E1EDE82E5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BCE7870-A273-4E4E-86D7-843E1D408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54AEF40-4ED3-42B0-B763-38B08B0480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7087E8C-E045-4A43-B727-5965B9F283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97A1033-3F8D-4598-9F2E-FD6940F17A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F9D3F88-A17C-4EC2-B9E9-CC0B2114AE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691A7D6-69BE-4AF7-A01F-8CBFB6315D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40E4836-6BA1-4EA9-BB99-844E6095D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5176</c:v>
                </c:pt>
                <c:pt idx="1">
                  <c:v>5.4038</c:v>
                </c:pt>
                <c:pt idx="2">
                  <c:v>9.1807</c:v>
                </c:pt>
                <c:pt idx="3">
                  <c:v>3.6734</c:v>
                </c:pt>
                <c:pt idx="4">
                  <c:v>2.5627</c:v>
                </c:pt>
              </c:numCache>
            </c:numRef>
          </c:xVal>
          <c:yVal>
            <c:numRef>
              <c:f>Sheet1!$B$2:$B$6</c:f>
              <c:numCache>
                <c:formatCode>General</c:formatCode>
                <c:ptCount val="5"/>
                <c:pt idx="0">
                  <c:v>1.234</c:v>
                </c:pt>
                <c:pt idx="1">
                  <c:v>0.912</c:v>
                </c:pt>
                <c:pt idx="2">
                  <c:v>1.104</c:v>
                </c:pt>
                <c:pt idx="3">
                  <c:v>0.61</c:v>
                </c:pt>
                <c:pt idx="4">
                  <c:v>0.349</c:v>
                </c:pt>
              </c:numCache>
            </c:numRef>
          </c:yVal>
          <c:bubbleSize>
            <c:numRef>
              <c:f>Sheet1!$C$2:$C$6</c:f>
              <c:numCache>
                <c:formatCode>General</c:formatCode>
                <c:ptCount val="5"/>
                <c:pt idx="0">
                  <c:v>249010159</c:v>
                </c:pt>
                <c:pt idx="1">
                  <c:v>86472426</c:v>
                </c:pt>
                <c:pt idx="2">
                  <c:v>65459706</c:v>
                </c:pt>
                <c:pt idx="3">
                  <c:v>48381314</c:v>
                </c:pt>
                <c:pt idx="4">
                  <c:v>807566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3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29059D7-5EDA-40F0-84D8-D064B2C0E4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0DDB2CC-5508-450E-A920-0F3E325B67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B4DDA0F-F823-4C5A-BCE7-EF24211518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4754783-5108-4001-A6FF-C632F17959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D71C71D-5A9D-44C7-A411-1995DCD45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9B1374D-E3A3-49D9-93C8-A7D1E29262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D066E4D-0AF5-4A63-B1FD-B2361CFA59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F82C33B-3B5C-4597-9D8F-52F90C5ED5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8.2887</c:v>
                </c:pt>
                <c:pt idx="1">
                  <c:v>23.1168</c:v>
                </c:pt>
              </c:numCache>
            </c:numRef>
          </c:xVal>
          <c:yVal>
            <c:numRef>
              <c:f>Sheet1!$B$2:$B$3</c:f>
              <c:numCache>
                <c:formatCode>General</c:formatCode>
                <c:ptCount val="2"/>
                <c:pt idx="0">
                  <c:v>1.004</c:v>
                </c:pt>
                <c:pt idx="1">
                  <c:v>0.865</c:v>
                </c:pt>
              </c:numCache>
            </c:numRef>
          </c:yVal>
          <c:bubbleSize>
            <c:numRef>
              <c:f>Sheet1!$C$2:$C$3</c:f>
              <c:numCache>
                <c:formatCode>General</c:formatCode>
                <c:ptCount val="2"/>
                <c:pt idx="0">
                  <c:v>87444504</c:v>
                </c:pt>
                <c:pt idx="1">
                  <c:v>202579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DD2136B-F658-42E6-9842-A1AD90026A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26A4FD3-6C75-4306-8DF4-9B2A4D9A8C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D3AD44F-ACD2-4D99-BBE7-F7592EFF81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9D6C5ED-04F0-48F7-A10E-AF1C0B9EDE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72DF974-25E5-4332-8807-AB6A6EA898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A6E7D30-454C-484F-8669-462D972B98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180CA2C-17B1-4310-B2BF-7886E4D008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7CF79DD-C79F-4F2A-B517-AC9AB94E2C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114</c:v>
                </c:pt>
                <c:pt idx="1">
                  <c:v>18.1432</c:v>
                </c:pt>
                <c:pt idx="2">
                  <c:v>17.2226</c:v>
                </c:pt>
              </c:numCache>
            </c:numRef>
          </c:xVal>
          <c:yVal>
            <c:numRef>
              <c:f>Sheet1!$B$2:$B$4</c:f>
              <c:numCache>
                <c:formatCode>General</c:formatCode>
                <c:ptCount val="3"/>
                <c:pt idx="0">
                  <c:v>0.874</c:v>
                </c:pt>
                <c:pt idx="1">
                  <c:v>1.245</c:v>
                </c:pt>
                <c:pt idx="2">
                  <c:v>2.257</c:v>
                </c:pt>
              </c:numCache>
            </c:numRef>
          </c:yVal>
          <c:bubbleSize>
            <c:numRef>
              <c:f>Sheet1!$C$2:$C$4</c:f>
              <c:numCache>
                <c:formatCode>General</c:formatCode>
                <c:ptCount val="3"/>
                <c:pt idx="0">
                  <c:v>18840686</c:v>
                </c:pt>
                <c:pt idx="1">
                  <c:v>11787957</c:v>
                </c:pt>
                <c:pt idx="2">
                  <c:v>81170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457000000000000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C18A3F-0137-4908-A885-82863C704E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8AAF08-93DE-44A4-8855-29EAE688AA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1F8424B-68B5-43CE-8838-E31DC5CB70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C236B94-2251-44E5-85A3-C168E0720D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E235CE-5A6B-4EF8-A182-59EB51384F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3024745-9204-436A-9E50-610D706E8E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7220C1D-AB51-4259-B3B6-3FAAA4EEEA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5565E71-855E-4C04-97E3-B0DD0FC802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9.018</c:v>
                </c:pt>
                <c:pt idx="1">
                  <c:v>12.6411</c:v>
                </c:pt>
                <c:pt idx="2">
                  <c:v>8.6962</c:v>
                </c:pt>
                <c:pt idx="3">
                  <c:v>13.2053</c:v>
                </c:pt>
                <c:pt idx="4">
                  <c:v>10.1321</c:v>
                </c:pt>
                <c:pt idx="5">
                  <c:v>10.146</c:v>
                </c:pt>
                <c:pt idx="6">
                  <c:v>5.5809</c:v>
                </c:pt>
              </c:numCache>
            </c:numRef>
          </c:xVal>
          <c:yVal>
            <c:numRef>
              <c:f>Sheet1!$B$2:$B$8</c:f>
              <c:numCache>
                <c:formatCode>General</c:formatCode>
                <c:ptCount val="7"/>
                <c:pt idx="0">
                  <c:v>1.446</c:v>
                </c:pt>
                <c:pt idx="1">
                  <c:v>0.949</c:v>
                </c:pt>
                <c:pt idx="2">
                  <c:v>0.479</c:v>
                </c:pt>
                <c:pt idx="3">
                  <c:v>0.916</c:v>
                </c:pt>
                <c:pt idx="4">
                  <c:v>0.964</c:v>
                </c:pt>
                <c:pt idx="5">
                  <c:v>0.827</c:v>
                </c:pt>
                <c:pt idx="6">
                  <c:v>0.215</c:v>
                </c:pt>
              </c:numCache>
            </c:numRef>
          </c:yVal>
          <c:bubbleSize>
            <c:numRef>
              <c:f>Sheet1!$C$2:$C$8</c:f>
              <c:numCache>
                <c:formatCode>General</c:formatCode>
                <c:ptCount val="7"/>
                <c:pt idx="0">
                  <c:v>189981829</c:v>
                </c:pt>
                <c:pt idx="1">
                  <c:v>69045242</c:v>
                </c:pt>
                <c:pt idx="2">
                  <c:v>27200026</c:v>
                </c:pt>
                <c:pt idx="3">
                  <c:v>14680043</c:v>
                </c:pt>
                <c:pt idx="4">
                  <c:v>12761444</c:v>
                </c:pt>
                <c:pt idx="5">
                  <c:v>9913053</c:v>
                </c:pt>
                <c:pt idx="6">
                  <c:v>588595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0"/>
          <c:min val="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46"/>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17A664D-565C-401E-B991-87583F0674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32A45BF-8B40-4FB6-9F78-3A4F5893EF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CA78959-B19C-437F-9D1F-D5AD1AD49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1CCD33C-E1C7-4759-AD3F-A185D8579D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C0C9ED7-BF87-4882-AA06-A10AD39B44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146D7B2-E34A-49EB-979C-4806C4796C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FA1FA3A-4018-4A92-9C1C-A38F1B5FD6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577F7B1-D620-4C0C-8DA6-B0105F12B9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0.2652</c:v>
                </c:pt>
                <c:pt idx="1">
                  <c:v>5.246</c:v>
                </c:pt>
                <c:pt idx="2">
                  <c:v>3.3516</c:v>
                </c:pt>
                <c:pt idx="3">
                  <c:v>8.3892</c:v>
                </c:pt>
              </c:numCache>
            </c:numRef>
          </c:xVal>
          <c:yVal>
            <c:numRef>
              <c:f>Sheet1!$B$2:$B$5</c:f>
              <c:numCache>
                <c:formatCode>General</c:formatCode>
                <c:ptCount val="4"/>
                <c:pt idx="0">
                  <c:v>1.332</c:v>
                </c:pt>
                <c:pt idx="1">
                  <c:v>0.842</c:v>
                </c:pt>
                <c:pt idx="2">
                  <c:v>0.587</c:v>
                </c:pt>
                <c:pt idx="3">
                  <c:v>1.064</c:v>
                </c:pt>
              </c:numCache>
            </c:numRef>
          </c:yVal>
          <c:bubbleSize>
            <c:numRef>
              <c:f>Sheet1!$C$2:$C$5</c:f>
              <c:numCache>
                <c:formatCode>General</c:formatCode>
                <c:ptCount val="4"/>
                <c:pt idx="0">
                  <c:v>87493817</c:v>
                </c:pt>
                <c:pt idx="1">
                  <c:v>29854336</c:v>
                </c:pt>
                <c:pt idx="2">
                  <c:v>24797814</c:v>
                </c:pt>
                <c:pt idx="3">
                  <c:v>19103503</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0"/>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DBA5E6A-EF62-4B0A-BE2D-4C80F93715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C3C0388-65DB-49E0-8DAA-9B7859BD45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09B5BD0-E235-43F5-901B-DFE8F96518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81E3D15-AB1B-47D6-A44A-A8F6B32C23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E528888-0473-43D4-A5A0-2E44495389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3701373-5673-4889-A75E-8723AD1FE4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2A10094-89FB-4CB5-9B41-DA76BD6DC5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1661B83-C392-4648-AB8F-8EB3567DD6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3705</c:v>
                </c:pt>
                <c:pt idx="1">
                  <c:v>12.4898</c:v>
                </c:pt>
                <c:pt idx="2">
                  <c:v>11.04</c:v>
                </c:pt>
                <c:pt idx="3">
                  <c:v>9.1249</c:v>
                </c:pt>
                <c:pt idx="4">
                  <c:v>18.0314</c:v>
                </c:pt>
                <c:pt idx="5">
                  <c:v>8.4085</c:v>
                </c:pt>
              </c:numCache>
            </c:numRef>
          </c:xVal>
          <c:yVal>
            <c:numRef>
              <c:f>Sheet1!$B$2:$B$7</c:f>
              <c:numCache>
                <c:formatCode>General</c:formatCode>
                <c:ptCount val="6"/>
                <c:pt idx="0">
                  <c:v>1.163</c:v>
                </c:pt>
                <c:pt idx="1">
                  <c:v>0.868</c:v>
                </c:pt>
                <c:pt idx="2">
                  <c:v>0.647</c:v>
                </c:pt>
                <c:pt idx="3">
                  <c:v>0.913</c:v>
                </c:pt>
                <c:pt idx="4">
                  <c:v>0.739</c:v>
                </c:pt>
                <c:pt idx="5">
                  <c:v>0.715</c:v>
                </c:pt>
              </c:numCache>
            </c:numRef>
          </c:yVal>
          <c:bubbleSize>
            <c:numRef>
              <c:f>Sheet1!$C$2:$C$7</c:f>
              <c:numCache>
                <c:formatCode>General</c:formatCode>
                <c:ptCount val="6"/>
                <c:pt idx="0">
                  <c:v>219037324</c:v>
                </c:pt>
                <c:pt idx="1">
                  <c:v>65466766</c:v>
                </c:pt>
                <c:pt idx="2">
                  <c:v>21679564</c:v>
                </c:pt>
                <c:pt idx="3">
                  <c:v>13755552</c:v>
                </c:pt>
                <c:pt idx="4">
                  <c:v>6491139</c:v>
                </c:pt>
                <c:pt idx="5">
                  <c:v>6257528</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6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EF0391D-97C4-41E9-8160-0A844412F2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60D71E7-DDA1-44E1-AF71-F0C126B148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E1EBA45-7F6A-4C14-A536-C3D382A854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09B2E40-A294-475D-9464-887BB1A47A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9577898-7D89-4ACA-8994-002026E19C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A32CDDF-B87A-4617-BDDD-270CBC2CFB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303A650-3649-4311-9A39-861880D955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0EF0F46-54EF-4A00-B339-BABD9C99B5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5481</c:v>
                </c:pt>
                <c:pt idx="1">
                  <c:v>12.684</c:v>
                </c:pt>
                <c:pt idx="2">
                  <c:v>16.3509</c:v>
                </c:pt>
                <c:pt idx="3">
                  <c:v>10.02</c:v>
                </c:pt>
                <c:pt idx="4">
                  <c:v>9.2468</c:v>
                </c:pt>
              </c:numCache>
            </c:numRef>
          </c:xVal>
          <c:yVal>
            <c:numRef>
              <c:f>Sheet1!$B$2:$B$6</c:f>
              <c:numCache>
                <c:formatCode>General</c:formatCode>
                <c:ptCount val="5"/>
                <c:pt idx="0">
                  <c:v>1.193</c:v>
                </c:pt>
                <c:pt idx="1">
                  <c:v>0.811</c:v>
                </c:pt>
                <c:pt idx="2">
                  <c:v>0.792</c:v>
                </c:pt>
                <c:pt idx="3">
                  <c:v>0.776</c:v>
                </c:pt>
                <c:pt idx="4">
                  <c:v>0.572</c:v>
                </c:pt>
              </c:numCache>
            </c:numRef>
          </c:yVal>
          <c:bubbleSize>
            <c:numRef>
              <c:f>Sheet1!$C$2:$C$6</c:f>
              <c:numCache>
                <c:formatCode>General</c:formatCode>
                <c:ptCount val="5"/>
                <c:pt idx="0">
                  <c:v>505308261</c:v>
                </c:pt>
                <c:pt idx="1">
                  <c:v>116928743</c:v>
                </c:pt>
                <c:pt idx="2">
                  <c:v>30738117</c:v>
                </c:pt>
                <c:pt idx="3">
                  <c:v>17321957</c:v>
                </c:pt>
                <c:pt idx="4">
                  <c:v>1483859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9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085CDF4-ABAD-42C4-A127-F0EA13B6E7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497D013-CE62-4A4A-9BC1-9DF7470F84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35C0585-DA0F-48B8-995C-44E83970DF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DCBAC87-D1C5-4EE8-98F2-31BF2D34BC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23C7C54-3AFB-4640-970C-9BBB69C7B8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6055C6F-A80C-40AD-80AD-DFA8FF4BFA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8B10D60-E263-4C2D-97E2-E32E29EF63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F08C960-7874-4C0C-BA47-912FAC7286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6.7055</c:v>
                </c:pt>
                <c:pt idx="1">
                  <c:v>23.1168</c:v>
                </c:pt>
              </c:numCache>
            </c:numRef>
          </c:xVal>
          <c:yVal>
            <c:numRef>
              <c:f>Sheet1!$B$2:$B$3</c:f>
              <c:numCache>
                <c:formatCode>General</c:formatCode>
                <c:ptCount val="2"/>
                <c:pt idx="0">
                  <c:v>1.069</c:v>
                </c:pt>
                <c:pt idx="1">
                  <c:v>0.668</c:v>
                </c:pt>
              </c:numCache>
            </c:numRef>
          </c:yVal>
          <c:bubbleSize>
            <c:numRef>
              <c:f>Sheet1!$C$2:$C$3</c:f>
              <c:numCache>
                <c:formatCode>General</c:formatCode>
                <c:ptCount val="2"/>
                <c:pt idx="0">
                  <c:v>16065737</c:v>
                </c:pt>
                <c:pt idx="1">
                  <c:v>202579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0"/>
          <c:min val="1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69"/>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D57C4F6-2E48-4894-BA85-E8BF0C7DF9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D9ECA8D-681B-486D-B745-1E881234A8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C47A40A-6D5D-4A8A-9486-11E4FC95C0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F469716-C0DE-4AB4-A53F-4D7D4AB011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4C2D416-71B4-4A6A-9414-5DF3D3EF3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B2F27C3-2793-459C-BE28-27A0F81072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BD6DA43-B0AB-437B-9B3E-5D387BBFE2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19EA6AF-F40B-4415-8802-899C8AFCF3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8.664</c:v>
                </c:pt>
              </c:numCache>
            </c:numRef>
          </c:xVal>
          <c:yVal>
            <c:numRef>
              <c:f>Sheet1!$B$2:$B$2</c:f>
              <c:numCache>
                <c:formatCode>General</c:formatCode>
                <c:ptCount val="1"/>
                <c:pt idx="0">
                  <c:v>1</c:v>
                </c:pt>
              </c:numCache>
            </c:numRef>
          </c:yVal>
          <c:bubbleSize>
            <c:numRef>
              <c:f>Sheet1!$C$2:$C$2</c:f>
              <c:numCache>
                <c:formatCode>General</c:formatCode>
                <c:ptCount val="1"/>
                <c:pt idx="0">
                  <c:v>7137876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0"/>
          <c:min val="31.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9664EFB-43E6-4799-8340-51C531415E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E0FDB88-FABD-48A2-9CA3-F37BC4356A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D472196-079E-4B8D-AF23-F865270317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FA9CA2F-5AE1-49EC-977F-B9378A00F9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380349B-FD88-4474-A770-D1EE8DA3BB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DBAC433-6026-4FF2-9274-830A48C5BE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9F6E17B-DEE6-47F7-AFCD-ABFE76B993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A4703D2-1EAF-46ED-AB27-B1D69B068E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674</c:v>
                </c:pt>
                <c:pt idx="1">
                  <c:v>12.5903</c:v>
                </c:pt>
                <c:pt idx="2">
                  <c:v>9.6372</c:v>
                </c:pt>
                <c:pt idx="3">
                  <c:v>8.9647</c:v>
                </c:pt>
                <c:pt idx="4">
                  <c:v>17.9598</c:v>
                </c:pt>
                <c:pt idx="5">
                  <c:v>8.4401</c:v>
                </c:pt>
              </c:numCache>
            </c:numRef>
          </c:xVal>
          <c:yVal>
            <c:numRef>
              <c:f>Sheet1!$B$2:$B$7</c:f>
              <c:numCache>
                <c:formatCode>General</c:formatCode>
                <c:ptCount val="6"/>
                <c:pt idx="0">
                  <c:v>1.105</c:v>
                </c:pt>
                <c:pt idx="1">
                  <c:v>0.909</c:v>
                </c:pt>
                <c:pt idx="2">
                  <c:v>0.671</c:v>
                </c:pt>
                <c:pt idx="3">
                  <c:v>0.94</c:v>
                </c:pt>
                <c:pt idx="4">
                  <c:v>0.753</c:v>
                </c:pt>
                <c:pt idx="5">
                  <c:v>0.885</c:v>
                </c:pt>
              </c:numCache>
            </c:numRef>
          </c:yVal>
          <c:bubbleSize>
            <c:numRef>
              <c:f>Sheet1!$C$2:$C$7</c:f>
              <c:numCache>
                <c:formatCode>General</c:formatCode>
                <c:ptCount val="6"/>
                <c:pt idx="0">
                  <c:v>71368823</c:v>
                </c:pt>
                <c:pt idx="1">
                  <c:v>22258475</c:v>
                </c:pt>
                <c:pt idx="2">
                  <c:v>5750052</c:v>
                </c:pt>
                <c:pt idx="3">
                  <c:v>5017051</c:v>
                </c:pt>
                <c:pt idx="4">
                  <c:v>3288530</c:v>
                </c:pt>
                <c:pt idx="5">
                  <c:v>2374435</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0"/>
          <c:min val="7.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05"/>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8574725-9FE0-4F84-91EB-43BE33617B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F0E9F51-E3C5-43F1-AA6C-0E7ECEA9E0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A5496B4-10D9-47FA-A37B-C4D445F5C2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A47E56C-BE1F-4E24-A1F5-7D11863F10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45438B7-845C-47E8-AFC5-43B066E476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DE66C49-6CB2-4DDD-BA1E-70FE4318E8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A17291A-D00D-4A6D-B85A-66B187C6C9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AD1EB4A-F27C-466A-B48D-BF4625FD12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9882</c:v>
                </c:pt>
                <c:pt idx="1">
                  <c:v>12.5575</c:v>
                </c:pt>
                <c:pt idx="2">
                  <c:v>6.3809</c:v>
                </c:pt>
                <c:pt idx="3">
                  <c:v>4.1442</c:v>
                </c:pt>
                <c:pt idx="4">
                  <c:v>9.9571</c:v>
                </c:pt>
                <c:pt idx="5">
                  <c:v>10.1321</c:v>
                </c:pt>
                <c:pt idx="6">
                  <c:v>5.5809</c:v>
                </c:pt>
                <c:pt idx="7">
                  <c:v>14.367</c:v>
                </c:pt>
              </c:numCache>
            </c:numRef>
          </c:xVal>
          <c:yVal>
            <c:numRef>
              <c:f>Sheet1!$B$2:$B$9</c:f>
              <c:numCache>
                <c:formatCode>General</c:formatCode>
                <c:ptCount val="8"/>
                <c:pt idx="0">
                  <c:v>1.401</c:v>
                </c:pt>
                <c:pt idx="1">
                  <c:v>1.578</c:v>
                </c:pt>
                <c:pt idx="2">
                  <c:v>0.581</c:v>
                </c:pt>
                <c:pt idx="3">
                  <c:v>0.412</c:v>
                </c:pt>
                <c:pt idx="4">
                  <c:v>0.796</c:v>
                </c:pt>
                <c:pt idx="5">
                  <c:v>1.618</c:v>
                </c:pt>
                <c:pt idx="6">
                  <c:v>0.361</c:v>
                </c:pt>
                <c:pt idx="7">
                  <c:v>3.151</c:v>
                </c:pt>
              </c:numCache>
            </c:numRef>
          </c:yVal>
          <c:bubbleSize>
            <c:numRef>
              <c:f>Sheet1!$C$2:$C$9</c:f>
              <c:numCache>
                <c:formatCode>General</c:formatCode>
                <c:ptCount val="8"/>
                <c:pt idx="0">
                  <c:v>277475644</c:v>
                </c:pt>
                <c:pt idx="1">
                  <c:v>69574516</c:v>
                </c:pt>
                <c:pt idx="2">
                  <c:v>51844614</c:v>
                </c:pt>
                <c:pt idx="3">
                  <c:v>34710855</c:v>
                </c:pt>
                <c:pt idx="4">
                  <c:v>33650553</c:v>
                </c:pt>
                <c:pt idx="5">
                  <c:v>12761321</c:v>
                </c:pt>
                <c:pt idx="6">
                  <c:v>5885956</c:v>
                </c:pt>
                <c:pt idx="7">
                  <c:v>132895</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0"/>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3.351"/>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10CA02F-7ECC-4145-9514-E90B4B8D21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D0D86B2-03B4-42F7-84DB-A2C51B8059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038E34F-1E98-4DB6-929A-AC648A16D9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5892CFE-F07C-4A25-9916-0E12C976AA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4844ED4-A5D8-48C3-862F-60D4802062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44FDE4F-9658-4FCE-9137-980AA18902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FB42388-42D5-42D4-94F7-D55B58929F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B409DB3-15A5-4CDA-A54D-C8A0FA0647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0.7758</c:v>
                </c:pt>
                <c:pt idx="1">
                  <c:v>12.6654</c:v>
                </c:pt>
                <c:pt idx="2">
                  <c:v>17.3434</c:v>
                </c:pt>
                <c:pt idx="3">
                  <c:v>11.0656</c:v>
                </c:pt>
                <c:pt idx="4">
                  <c:v>10.8358</c:v>
                </c:pt>
                <c:pt idx="5">
                  <c:v>2.9802</c:v>
                </c:pt>
              </c:numCache>
            </c:numRef>
          </c:xVal>
          <c:yVal>
            <c:numRef>
              <c:f>Sheet1!$B$2:$B$7</c:f>
              <c:numCache>
                <c:formatCode>General</c:formatCode>
                <c:ptCount val="6"/>
                <c:pt idx="0">
                  <c:v>1.376</c:v>
                </c:pt>
                <c:pt idx="1">
                  <c:v>0.867</c:v>
                </c:pt>
                <c:pt idx="2">
                  <c:v>0.881</c:v>
                </c:pt>
                <c:pt idx="3">
                  <c:v>0.83</c:v>
                </c:pt>
                <c:pt idx="4">
                  <c:v>0.782</c:v>
                </c:pt>
                <c:pt idx="5">
                  <c:v>0.113</c:v>
                </c:pt>
              </c:numCache>
            </c:numRef>
          </c:yVal>
          <c:bubbleSize>
            <c:numRef>
              <c:f>Sheet1!$C$2:$C$7</c:f>
              <c:numCache>
                <c:formatCode>General</c:formatCode>
                <c:ptCount val="6"/>
                <c:pt idx="0">
                  <c:v>118612656</c:v>
                </c:pt>
                <c:pt idx="1">
                  <c:v>46786767</c:v>
                </c:pt>
                <c:pt idx="2">
                  <c:v>8929285</c:v>
                </c:pt>
                <c:pt idx="3">
                  <c:v>7744393</c:v>
                </c:pt>
                <c:pt idx="4">
                  <c:v>7538618</c:v>
                </c:pt>
                <c:pt idx="5">
                  <c:v>2597426</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0"/>
          <c:min val="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75999999999999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3B100A2-9B59-442F-84E8-7226265286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4F70379-B433-485A-8796-15AB30F32E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8B6F01D-989A-4AB4-9107-C442A9A6BE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973932E-5FDB-4367-8786-90FEEC7263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8BB6FE1-4C5E-4F50-9F34-328EF52665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E400761-56B2-4D5F-ABE2-1AC9348037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B17517F-F0DD-4173-8DA9-0E437B6028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3CA865E-24C3-47FB-982D-54404447BD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1692</c:v>
                </c:pt>
                <c:pt idx="1">
                  <c:v>12.6136</c:v>
                </c:pt>
                <c:pt idx="2">
                  <c:v>13.9156</c:v>
                </c:pt>
                <c:pt idx="3">
                  <c:v>8.3641</c:v>
                </c:pt>
                <c:pt idx="4">
                  <c:v>9.5934</c:v>
                </c:pt>
                <c:pt idx="5">
                  <c:v>7.7124</c:v>
                </c:pt>
                <c:pt idx="6">
                  <c:v>10.1455</c:v>
                </c:pt>
                <c:pt idx="7">
                  <c:v>13.0515</c:v>
                </c:pt>
              </c:numCache>
            </c:numRef>
          </c:xVal>
          <c:yVal>
            <c:numRef>
              <c:f>Sheet1!$B$2:$B$9</c:f>
              <c:numCache>
                <c:formatCode>General</c:formatCode>
                <c:ptCount val="8"/>
                <c:pt idx="0">
                  <c:v>1.262</c:v>
                </c:pt>
                <c:pt idx="1">
                  <c:v>0.902</c:v>
                </c:pt>
                <c:pt idx="2">
                  <c:v>0.836</c:v>
                </c:pt>
                <c:pt idx="3">
                  <c:v>0.505</c:v>
                </c:pt>
                <c:pt idx="4">
                  <c:v>0.931</c:v>
                </c:pt>
                <c:pt idx="5">
                  <c:v>0.517</c:v>
                </c:pt>
                <c:pt idx="6">
                  <c:v>0.763</c:v>
                </c:pt>
                <c:pt idx="7">
                  <c:v>1.239</c:v>
                </c:pt>
              </c:numCache>
            </c:numRef>
          </c:yVal>
          <c:bubbleSize>
            <c:numRef>
              <c:f>Sheet1!$C$2:$C$9</c:f>
              <c:numCache>
                <c:formatCode>General</c:formatCode>
                <c:ptCount val="8"/>
                <c:pt idx="0">
                  <c:v>723373212</c:v>
                </c:pt>
                <c:pt idx="1">
                  <c:v>182395509</c:v>
                </c:pt>
                <c:pt idx="2">
                  <c:v>49393325</c:v>
                </c:pt>
                <c:pt idx="3">
                  <c:v>40496317</c:v>
                </c:pt>
                <c:pt idx="4">
                  <c:v>31033081</c:v>
                </c:pt>
                <c:pt idx="5">
                  <c:v>13626941</c:v>
                </c:pt>
                <c:pt idx="6">
                  <c:v>10019159</c:v>
                </c:pt>
                <c:pt idx="7">
                  <c:v>1791355</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0"/>
          <c:min val="6.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6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61F6E0A-A90E-435B-9C45-1BDCC531E1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6F8A473-F75D-4E1E-8F24-E42E0B4DD0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059C16E-6707-450C-BB5E-6BC6E24FDE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763ECDE-FCB9-4BFF-B6A9-29ECC45785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7D3AF34-0F65-48B7-8880-82635339AA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30E1554-723A-41C2-9BAC-9D6498CCDF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33ADB5F-D15F-4F3D-8D59-B674E4CB04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3915A55-1DE9-4EBC-A402-E89AB9826D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0.5178</c:v>
                </c:pt>
                <c:pt idx="1">
                  <c:v>5.4038</c:v>
                </c:pt>
                <c:pt idx="2">
                  <c:v>9.1807</c:v>
                </c:pt>
                <c:pt idx="3">
                  <c:v>3.3511</c:v>
                </c:pt>
                <c:pt idx="4">
                  <c:v>4.0956</c:v>
                </c:pt>
                <c:pt idx="5">
                  <c:v>2.5627</c:v>
                </c:pt>
              </c:numCache>
            </c:numRef>
          </c:xVal>
          <c:yVal>
            <c:numRef>
              <c:f>Sheet1!$B$2:$B$7</c:f>
              <c:numCache>
                <c:formatCode>General</c:formatCode>
                <c:ptCount val="6"/>
                <c:pt idx="0">
                  <c:v>1.233</c:v>
                </c:pt>
                <c:pt idx="1">
                  <c:v>0.912</c:v>
                </c:pt>
                <c:pt idx="2">
                  <c:v>1.104</c:v>
                </c:pt>
                <c:pt idx="3">
                  <c:v>0.547</c:v>
                </c:pt>
                <c:pt idx="4">
                  <c:v>0.694</c:v>
                </c:pt>
                <c:pt idx="5">
                  <c:v>0.349</c:v>
                </c:pt>
              </c:numCache>
            </c:numRef>
          </c:yVal>
          <c:bubbleSize>
            <c:numRef>
              <c:f>Sheet1!$C$2:$C$7</c:f>
              <c:numCache>
                <c:formatCode>General</c:formatCode>
                <c:ptCount val="6"/>
                <c:pt idx="0">
                  <c:v>248713657</c:v>
                </c:pt>
                <c:pt idx="1">
                  <c:v>86472426</c:v>
                </c:pt>
                <c:pt idx="2">
                  <c:v>65459695</c:v>
                </c:pt>
                <c:pt idx="3">
                  <c:v>25060210</c:v>
                </c:pt>
                <c:pt idx="4">
                  <c:v>23257539</c:v>
                </c:pt>
                <c:pt idx="5">
                  <c:v>807566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0"/>
          <c:min val="2.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3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2D58974-B895-4245-9E2C-1B8E00F0F5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DB76B35-FA56-4CB6-9CDC-63C7B8D0C1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61141DF-A157-493C-AEA0-A49F65A77A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FC23C4-2689-461F-ADCC-F7DA5254F1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AAC396E-FAF3-4A29-A0FA-DDE02B5B10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C109144-DD78-477E-AB8E-62799191CD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BE0F480-CB3A-45DB-BA83-9C85911FCA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AB3A54C-A8DC-444B-83C3-B95F18E0C6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8.2887</c:v>
                </c:pt>
                <c:pt idx="1">
                  <c:v>23.1168</c:v>
                </c:pt>
                <c:pt idx="2">
                  <c:v>9.6452</c:v>
                </c:pt>
              </c:numCache>
            </c:numRef>
          </c:xVal>
          <c:yVal>
            <c:numRef>
              <c:f>Sheet1!$B$2:$B$4</c:f>
              <c:numCache>
                <c:formatCode>General</c:formatCode>
                <c:ptCount val="3"/>
                <c:pt idx="0">
                  <c:v>1.004</c:v>
                </c:pt>
                <c:pt idx="1">
                  <c:v>0.865</c:v>
                </c:pt>
                <c:pt idx="2">
                  <c:v>0.741</c:v>
                </c:pt>
              </c:numCache>
            </c:numRef>
          </c:yVal>
          <c:bubbleSize>
            <c:numRef>
              <c:f>Sheet1!$C$2:$C$4</c:f>
              <c:numCache>
                <c:formatCode>General</c:formatCode>
                <c:ptCount val="3"/>
                <c:pt idx="0">
                  <c:v>87444504</c:v>
                </c:pt>
                <c:pt idx="1">
                  <c:v>2025791</c:v>
                </c:pt>
                <c:pt idx="2">
                  <c:v>299</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0"/>
          <c:min val="8.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4"/>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99FE1E6-F51E-42EE-963A-1906E6A1D4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5D5B2E8-DE83-4FF7-AC06-6C48F9B4A0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C2F730F-2139-417F-9B30-1075875895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508A132-380F-412D-84FF-7D419C4F26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B158B4F-550E-407B-B4D5-A67B61A8AD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2FC7B7F-C4BF-42E9-88DC-BB98890D45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9DDBA19-0FB5-4F65-A423-AEE023D87C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588CB0B-940E-4C1B-AF0B-5ED0ACCB57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114</c:v>
                </c:pt>
                <c:pt idx="1">
                  <c:v>18.1432</c:v>
                </c:pt>
                <c:pt idx="2">
                  <c:v>17.2226</c:v>
                </c:pt>
              </c:numCache>
            </c:numRef>
          </c:xVal>
          <c:yVal>
            <c:numRef>
              <c:f>Sheet1!$B$2:$B$4</c:f>
              <c:numCache>
                <c:formatCode>General</c:formatCode>
                <c:ptCount val="3"/>
                <c:pt idx="0">
                  <c:v>0.874</c:v>
                </c:pt>
                <c:pt idx="1">
                  <c:v>1.245</c:v>
                </c:pt>
                <c:pt idx="2">
                  <c:v>2.257</c:v>
                </c:pt>
              </c:numCache>
            </c:numRef>
          </c:yVal>
          <c:bubbleSize>
            <c:numRef>
              <c:f>Sheet1!$C$2:$C$4</c:f>
              <c:numCache>
                <c:formatCode>General</c:formatCode>
                <c:ptCount val="3"/>
                <c:pt idx="0">
                  <c:v>18840686</c:v>
                </c:pt>
                <c:pt idx="1">
                  <c:v>11787957</c:v>
                </c:pt>
                <c:pt idx="2">
                  <c:v>811701</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0"/>
          <c:min val="1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4570000000000003"/>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1565ACC-59CA-4F8F-881E-0C93FD6346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427E290-7DF4-4C96-82A2-72169CFDAA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D3D4C4B-97C8-4C93-8C3B-D5F1E5888C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5CB7E82-A77D-464C-A00D-D17C63D5C2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1ECC10E-9ADA-4878-B103-84C921639B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86575F9-B8EB-4282-B68E-93536F2DC5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74F356D-E10B-4573-BC56-C0598D7D3C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35E9B9B-BE3D-4859-8F54-01AC339AD2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9.018</c:v>
                </c:pt>
                <c:pt idx="1">
                  <c:v>12.6411</c:v>
                </c:pt>
                <c:pt idx="2">
                  <c:v>9.0345</c:v>
                </c:pt>
                <c:pt idx="3">
                  <c:v>13.1956</c:v>
                </c:pt>
                <c:pt idx="4">
                  <c:v>10.1321</c:v>
                </c:pt>
                <c:pt idx="5">
                  <c:v>10.146</c:v>
                </c:pt>
                <c:pt idx="6">
                  <c:v>5.5809</c:v>
                </c:pt>
                <c:pt idx="7">
                  <c:v>14.367</c:v>
                </c:pt>
              </c:numCache>
            </c:numRef>
          </c:xVal>
          <c:yVal>
            <c:numRef>
              <c:f>Sheet1!$B$2:$B$9</c:f>
              <c:numCache>
                <c:formatCode>General</c:formatCode>
                <c:ptCount val="8"/>
                <c:pt idx="0">
                  <c:v>1.446</c:v>
                </c:pt>
                <c:pt idx="1">
                  <c:v>0.949</c:v>
                </c:pt>
                <c:pt idx="2">
                  <c:v>0.531</c:v>
                </c:pt>
                <c:pt idx="3">
                  <c:v>0.912</c:v>
                </c:pt>
                <c:pt idx="4">
                  <c:v>0.964</c:v>
                </c:pt>
                <c:pt idx="5">
                  <c:v>0.827</c:v>
                </c:pt>
                <c:pt idx="6">
                  <c:v>0.215</c:v>
                </c:pt>
                <c:pt idx="7">
                  <c:v>1.878</c:v>
                </c:pt>
              </c:numCache>
            </c:numRef>
          </c:yVal>
          <c:bubbleSize>
            <c:numRef>
              <c:f>Sheet1!$C$2:$C$9</c:f>
              <c:numCache>
                <c:formatCode>General</c:formatCode>
                <c:ptCount val="8"/>
                <c:pt idx="0">
                  <c:v>189981827</c:v>
                </c:pt>
                <c:pt idx="1">
                  <c:v>69045242</c:v>
                </c:pt>
                <c:pt idx="2">
                  <c:v>21990278</c:v>
                </c:pt>
                <c:pt idx="3">
                  <c:v>14547061</c:v>
                </c:pt>
                <c:pt idx="4">
                  <c:v>12761321</c:v>
                </c:pt>
                <c:pt idx="5">
                  <c:v>9913048</c:v>
                </c:pt>
                <c:pt idx="6">
                  <c:v>5885956</c:v>
                </c:pt>
                <c:pt idx="7">
                  <c:v>132895</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0"/>
          <c:min val="4.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78"/>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1472499-AF21-419C-B1B6-90352C323B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380C9AD-D2B9-4948-984C-7B004AE8F9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9914008-9E03-43B4-AEFC-F1AF92E383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C1431CA-CB37-48D6-A9A4-E911D24E51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E2FA9AD-6E69-4FD7-A4EF-BCEE23A647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AEA77B0-8097-4DAF-AF41-4539F56359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9D61641-140A-4C93-94EF-AD9EDC2809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3909E75-146B-4B17-9E50-46692D423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0.2652</c:v>
                </c:pt>
                <c:pt idx="1">
                  <c:v>5.246</c:v>
                </c:pt>
                <c:pt idx="2">
                  <c:v>3.3516</c:v>
                </c:pt>
                <c:pt idx="3">
                  <c:v>8.3892</c:v>
                </c:pt>
              </c:numCache>
            </c:numRef>
          </c:xVal>
          <c:yVal>
            <c:numRef>
              <c:f>Sheet1!$B$2:$B$5</c:f>
              <c:numCache>
                <c:formatCode>General</c:formatCode>
                <c:ptCount val="4"/>
                <c:pt idx="0">
                  <c:v>1.332</c:v>
                </c:pt>
                <c:pt idx="1">
                  <c:v>0.842</c:v>
                </c:pt>
                <c:pt idx="2">
                  <c:v>0.587</c:v>
                </c:pt>
                <c:pt idx="3">
                  <c:v>1.064</c:v>
                </c:pt>
              </c:numCache>
            </c:numRef>
          </c:yVal>
          <c:bubbleSize>
            <c:numRef>
              <c:f>Sheet1!$C$2:$C$5</c:f>
              <c:numCache>
                <c:formatCode>General</c:formatCode>
                <c:ptCount val="4"/>
                <c:pt idx="0">
                  <c:v>87493817</c:v>
                </c:pt>
                <c:pt idx="1">
                  <c:v>29854336</c:v>
                </c:pt>
                <c:pt idx="2">
                  <c:v>24797807</c:v>
                </c:pt>
                <c:pt idx="3">
                  <c:v>19103492</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0"/>
          <c:min val="3.0"/>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2"/>
          <c:min val="0.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18/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8/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Men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7316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91378"/>
            <a:ext cx="4869366" cy="81881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24070"/>
            <a:ext cx="4869366" cy="54124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79198"/>
            <a:ext cx="4869366" cy="109637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122277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2295"/>
            <a:ext cx="4869366" cy="88267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487599"/>
            <a:ext cx="4869366" cy="178797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956187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65017"/>
            <a:ext cx="4869366" cy="85556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542516"/>
            <a:ext cx="4869366" cy="173305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00717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j's And Sam's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95527"/>
            <a:ext cx="4869366" cy="94388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363611"/>
            <a:ext cx="4869366" cy="191196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278563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j's And Sam's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74175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6645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88322"/>
            <a:ext cx="4869366" cy="68405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89920"/>
            <a:ext cx="4869366" cy="138565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810468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3273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56552"/>
            <a:ext cx="4869366" cy="76001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36055"/>
            <a:ext cx="4869366" cy="153952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397553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Men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185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40773"/>
            <a:ext cx="4869366" cy="69964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58354"/>
            <a:ext cx="4869366" cy="141722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101391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Men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5478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78416"/>
            <a:ext cx="4869366" cy="75285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50570"/>
            <a:ext cx="4869366" cy="15250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244918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Men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51632"/>
            <a:ext cx="4869366" cy="99671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65245"/>
            <a:ext cx="4869366" cy="65884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40986"/>
            <a:ext cx="4869366" cy="133458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678307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4173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67146"/>
            <a:ext cx="4869366" cy="82209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10316"/>
            <a:ext cx="4869366" cy="166525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545949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Men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5478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78416"/>
            <a:ext cx="4869366" cy="75285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50570"/>
            <a:ext cx="4869366" cy="15250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889054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Disposabl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0116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26913"/>
            <a:ext cx="4869366" cy="83527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583606"/>
            <a:ext cx="4869366" cy="169196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036931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j's And Sam's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40043"/>
            <a:ext cx="4869366" cy="99483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611250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j's And Sam's | Disposabl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821248"/>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038079"/>
            <a:ext cx="4869366" cy="73749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88078"/>
            <a:ext cx="4869366" cy="48749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262508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3218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55174"/>
            <a:ext cx="4869366" cy="72769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01527"/>
            <a:ext cx="4869366" cy="147404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86707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Disposabl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655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89948"/>
            <a:ext cx="4869366" cy="7818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91840"/>
            <a:ext cx="4869366" cy="158373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962262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94151"/>
            <a:ext cx="4869366" cy="87878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495470"/>
            <a:ext cx="4869366" cy="17801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98988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National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51899"/>
            <a:ext cx="4869366" cy="85986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533807"/>
            <a:ext cx="4869366" cy="174176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416558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j's And Sam's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95527"/>
            <a:ext cx="4869366" cy="94388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363611"/>
            <a:ext cx="4869366" cy="191196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959338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Bj's And Sam's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454124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Razor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74977"/>
            <a:ext cx="4869366" cy="9178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416354"/>
            <a:ext cx="4869366" cy="185922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333174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Men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42151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635012"/>
            <a:ext cx="4869366" cy="54074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184922"/>
            <a:ext cx="4869366" cy="35744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551528"/>
            <a:ext cx="4869366" cy="72404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95975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Walmart | Refill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3273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56552"/>
            <a:ext cx="4869366" cy="76001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36055"/>
            <a:ext cx="4869366" cy="153952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81819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5038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75725"/>
            <a:ext cx="4869366" cy="8192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16011"/>
            <a:ext cx="4869366" cy="165956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244230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National | Disposabl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49937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25135"/>
            <a:ext cx="4869366" cy="8358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582426"/>
            <a:ext cx="4869366" cy="169314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042358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j's And Sam's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40043"/>
            <a:ext cx="4869366" cy="99483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260390"/>
            <a:ext cx="4869366" cy="201518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761471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Bj's And Sam's | Disposabl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821248"/>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038079"/>
            <a:ext cx="4869366" cy="73749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88078"/>
            <a:ext cx="4869366" cy="48749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979345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System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10878"/>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29989"/>
            <a:ext cx="4869366" cy="87200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16778"/>
            <a:ext cx="4869366" cy="5764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07970"/>
            <a:ext cx="4869366" cy="11676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709077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Walmart | Disposable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655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89948"/>
            <a:ext cx="4869366" cy="7818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91840"/>
            <a:ext cx="4869366" cy="158373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802176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77</TotalTime>
  <Words>2460</Words>
  <Application>Microsoft Office PowerPoint</Application>
  <PresentationFormat>On-screen Show (16:9)</PresentationFormat>
  <Paragraphs>420</Paragraphs>
  <Slides>30</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9" baseType="lpstr">
      <vt:lpstr>Aptos</vt:lpstr>
      <vt:lpstr>Arial</vt:lpstr>
      <vt:lpstr>Nexa</vt:lpstr>
      <vt:lpstr>Nexa Bold</vt:lpstr>
      <vt:lpstr>Nexa Book</vt:lpstr>
      <vt:lpstr>Nexa Book Italic</vt:lpstr>
      <vt:lpstr>Open Sans</vt:lpstr>
      <vt:lpstr>PricingOne Light Template Oct 2024</vt:lpstr>
      <vt:lpstr>think-cell Slide</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54</cp:revision>
  <dcterms:created xsi:type="dcterms:W3CDTF">2024-07-05T14:56:51Z</dcterms:created>
  <dcterms:modified xsi:type="dcterms:W3CDTF">2025-08-18T09:40: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